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0" r:id="rId5"/>
  </p:sldIdLst>
  <p:sldSz cx="12195175" cy="6858000"/>
  <p:notesSz cx="6797675" cy="992822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026">
          <p15:clr>
            <a:srgbClr val="A4A3A4"/>
          </p15:clr>
        </p15:guide>
        <p15:guide id="3" pos="144">
          <p15:clr>
            <a:srgbClr val="A4A3A4"/>
          </p15:clr>
        </p15:guide>
        <p15:guide id="4" pos="1278">
          <p15:clr>
            <a:srgbClr val="A4A3A4"/>
          </p15:clr>
        </p15:guide>
        <p15:guide id="5" pos="1392">
          <p15:clr>
            <a:srgbClr val="A4A3A4"/>
          </p15:clr>
        </p15:guide>
        <p15:guide id="6" pos="2526">
          <p15:clr>
            <a:srgbClr val="A4A3A4"/>
          </p15:clr>
        </p15:guide>
        <p15:guide id="7" pos="2639">
          <p15:clr>
            <a:srgbClr val="A4A3A4"/>
          </p15:clr>
        </p15:guide>
        <p15:guide id="8" pos="3773">
          <p15:clr>
            <a:srgbClr val="A4A3A4"/>
          </p15:clr>
        </p15:guide>
        <p15:guide id="9" pos="3886">
          <p15:clr>
            <a:srgbClr val="A4A3A4"/>
          </p15:clr>
        </p15:guide>
        <p15:guide id="10" pos="5020" userDrawn="1">
          <p15:clr>
            <a:srgbClr val="A4A3A4"/>
          </p15:clr>
        </p15:guide>
        <p15:guide id="11" pos="5134">
          <p15:clr>
            <a:srgbClr val="A4A3A4"/>
          </p15:clr>
        </p15:guide>
        <p15:guide id="12" pos="6268">
          <p15:clr>
            <a:srgbClr val="A4A3A4"/>
          </p15:clr>
        </p15:guide>
        <p15:guide id="13" pos="6381">
          <p15:clr>
            <a:srgbClr val="A4A3A4"/>
          </p15:clr>
        </p15:guide>
        <p15:guide id="14" pos="7515">
          <p15:clr>
            <a:srgbClr val="A4A3A4"/>
          </p15:clr>
        </p15:guide>
        <p15:guide id="15" orient="horz" pos="404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4164" userDrawn="1">
          <p15:clr>
            <a:srgbClr val="A4A3A4"/>
          </p15:clr>
        </p15:guide>
        <p15:guide id="3" pos="25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ehlmann, Nicole" initials="DN" lastIdx="23" clrIdx="0"/>
  <p:cmAuthor id="2" name="Jenny.F" initials="JF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282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781720-C56C-4694-85CB-082D748DE82C}" v="57" dt="2020-07-27T08:58:13.7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6" autoAdjust="0"/>
    <p:restoredTop sz="93423" autoAdjust="0"/>
  </p:normalViewPr>
  <p:slideViewPr>
    <p:cSldViewPr snapToGrid="0" snapToObjects="1">
      <p:cViewPr>
        <p:scale>
          <a:sx n="90" d="100"/>
          <a:sy n="90" d="100"/>
        </p:scale>
        <p:origin x="-72" y="-132"/>
      </p:cViewPr>
      <p:guideLst>
        <p:guide orient="horz" pos="1026"/>
        <p:guide orient="horz" pos="4042"/>
        <p:guide pos="144"/>
        <p:guide pos="1278"/>
        <p:guide pos="1392"/>
        <p:guide pos="2526"/>
        <p:guide pos="2639"/>
        <p:guide pos="3773"/>
        <p:guide pos="3886"/>
        <p:guide pos="5020"/>
        <p:guide pos="5134"/>
        <p:guide pos="6268"/>
        <p:guide pos="6381"/>
        <p:guide pos="75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-2916" y="-84"/>
      </p:cViewPr>
      <p:guideLst>
        <p:guide orient="horz" pos="3127"/>
        <p:guide pos="4164"/>
        <p:guide pos="25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elson, Tom" userId="57e366bc-7bb6-4735-90f3-f6546f9fe6b1" providerId="ADAL" clId="{B2781720-C56C-4694-85CB-082D748DE82C}"/>
    <pc:docChg chg="custSel modMainMaster">
      <pc:chgData name="Nielson, Tom" userId="57e366bc-7bb6-4735-90f3-f6546f9fe6b1" providerId="ADAL" clId="{B2781720-C56C-4694-85CB-082D748DE82C}" dt="2020-07-27T08:58:13.720" v="57" actId="1038"/>
      <pc:docMkLst>
        <pc:docMk/>
      </pc:docMkLst>
      <pc:sldMasterChg chg="addSp delSp modSp mod">
        <pc:chgData name="Nielson, Tom" userId="57e366bc-7bb6-4735-90f3-f6546f9fe6b1" providerId="ADAL" clId="{B2781720-C56C-4694-85CB-082D748DE82C}" dt="2020-07-27T08:58:13.720" v="57" actId="1038"/>
        <pc:sldMasterMkLst>
          <pc:docMk/>
          <pc:sldMasterMk cId="2296760513" sldId="2147483648"/>
        </pc:sldMasterMkLst>
        <pc:picChg chg="del">
          <ac:chgData name="Nielson, Tom" userId="57e366bc-7bb6-4735-90f3-f6546f9fe6b1" providerId="ADAL" clId="{B2781720-C56C-4694-85CB-082D748DE82C}" dt="2020-07-27T08:54:57.516" v="2" actId="478"/>
          <ac:picMkLst>
            <pc:docMk/>
            <pc:sldMasterMk cId="2296760513" sldId="2147483648"/>
            <ac:picMk id="9" creationId="{00000000-0000-0000-0000-000000000000}"/>
          </ac:picMkLst>
        </pc:picChg>
        <pc:picChg chg="del">
          <ac:chgData name="Nielson, Tom" userId="57e366bc-7bb6-4735-90f3-f6546f9fe6b1" providerId="ADAL" clId="{B2781720-C56C-4694-85CB-082D748DE82C}" dt="2020-07-27T08:54:43.687" v="0" actId="478"/>
          <ac:picMkLst>
            <pc:docMk/>
            <pc:sldMasterMk cId="2296760513" sldId="2147483648"/>
            <ac:picMk id="26" creationId="{88BBDCA9-0249-45D3-AE90-4FA6EB647B3E}"/>
          </ac:picMkLst>
        </pc:picChg>
        <pc:picChg chg="add del mod">
          <ac:chgData name="Nielson, Tom" userId="57e366bc-7bb6-4735-90f3-f6546f9fe6b1" providerId="ADAL" clId="{B2781720-C56C-4694-85CB-082D748DE82C}" dt="2020-07-27T08:54:58.189" v="3" actId="478"/>
          <ac:picMkLst>
            <pc:docMk/>
            <pc:sldMasterMk cId="2296760513" sldId="2147483648"/>
            <ac:picMk id="27" creationId="{FE292BE4-95F5-447F-BA13-3F805B02C0AA}"/>
          </ac:picMkLst>
        </pc:picChg>
        <pc:picChg chg="add del mod">
          <ac:chgData name="Nielson, Tom" userId="57e366bc-7bb6-4735-90f3-f6546f9fe6b1" providerId="ADAL" clId="{B2781720-C56C-4694-85CB-082D748DE82C}" dt="2020-07-27T08:54:58.937" v="4" actId="478"/>
          <ac:picMkLst>
            <pc:docMk/>
            <pc:sldMasterMk cId="2296760513" sldId="2147483648"/>
            <ac:picMk id="28" creationId="{7514CA72-266E-4152-8D67-212739789D85}"/>
          </ac:picMkLst>
        </pc:picChg>
        <pc:picChg chg="add mod">
          <ac:chgData name="Nielson, Tom" userId="57e366bc-7bb6-4735-90f3-f6546f9fe6b1" providerId="ADAL" clId="{B2781720-C56C-4694-85CB-082D748DE82C}" dt="2020-07-27T08:54:59.830" v="5"/>
          <ac:picMkLst>
            <pc:docMk/>
            <pc:sldMasterMk cId="2296760513" sldId="2147483648"/>
            <ac:picMk id="29" creationId="{949EC01E-B606-4C39-80F8-C215E7EDC423}"/>
          </ac:picMkLst>
        </pc:picChg>
        <pc:picChg chg="add mod">
          <ac:chgData name="Nielson, Tom" userId="57e366bc-7bb6-4735-90f3-f6546f9fe6b1" providerId="ADAL" clId="{B2781720-C56C-4694-85CB-082D748DE82C}" dt="2020-07-27T08:54:59.830" v="5"/>
          <ac:picMkLst>
            <pc:docMk/>
            <pc:sldMasterMk cId="2296760513" sldId="2147483648"/>
            <ac:picMk id="30" creationId="{93210D8B-76E2-4685-B0FB-D54AB4532B82}"/>
          </ac:picMkLst>
        </pc:picChg>
        <pc:picChg chg="add mod">
          <ac:chgData name="Nielson, Tom" userId="57e366bc-7bb6-4735-90f3-f6546f9fe6b1" providerId="ADAL" clId="{B2781720-C56C-4694-85CB-082D748DE82C}" dt="2020-07-27T08:58:13.720" v="57" actId="1038"/>
          <ac:picMkLst>
            <pc:docMk/>
            <pc:sldMasterMk cId="2296760513" sldId="2147483648"/>
            <ac:picMk id="31" creationId="{94ED8A1B-D755-4396-823B-8FF4627B2246}"/>
          </ac:picMkLst>
        </pc:picChg>
        <pc:picChg chg="add del mod">
          <ac:chgData name="Nielson, Tom" userId="57e366bc-7bb6-4735-90f3-f6546f9fe6b1" providerId="ADAL" clId="{B2781720-C56C-4694-85CB-082D748DE82C}" dt="2020-07-27T08:56:40.520" v="18" actId="478"/>
          <ac:picMkLst>
            <pc:docMk/>
            <pc:sldMasterMk cId="2296760513" sldId="2147483648"/>
            <ac:picMk id="1031" creationId="{0A8277ED-707A-4783-9D2E-189C02D850CD}"/>
          </ac:picMkLst>
        </pc:picChg>
        <pc:picChg chg="add mod">
          <ac:chgData name="Nielson, Tom" userId="57e366bc-7bb6-4735-90f3-f6546f9fe6b1" providerId="ADAL" clId="{B2781720-C56C-4694-85CB-082D748DE82C}" dt="2020-07-27T08:58:08.508" v="44" actId="14100"/>
          <ac:picMkLst>
            <pc:docMk/>
            <pc:sldMasterMk cId="2296760513" sldId="2147483648"/>
            <ac:picMk id="1033" creationId="{B9F7BE4D-8051-4DFE-BE0A-AA7E1A12453E}"/>
          </ac:picMkLst>
        </pc:picChg>
        <pc:picChg chg="add mod">
          <ac:chgData name="Nielson, Tom" userId="57e366bc-7bb6-4735-90f3-f6546f9fe6b1" providerId="ADAL" clId="{B2781720-C56C-4694-85CB-082D748DE82C}" dt="2020-07-27T08:58:11.869" v="53" actId="1038"/>
          <ac:picMkLst>
            <pc:docMk/>
            <pc:sldMasterMk cId="2296760513" sldId="2147483648"/>
            <ac:picMk id="1035" creationId="{01F0DD1A-DFEF-4032-A93B-352025AB08B3}"/>
          </ac:picMkLst>
        </pc:pic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E6BAB-D761-4C66-B228-B41E9EAB1795}" type="datetimeFigureOut">
              <a:rPr lang="de-DE" smtClean="0"/>
              <a:t>02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B926AF-43B9-4A78-B238-882444948A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5617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theme" Target="../theme/theme2.xml"/><Relationship Id="rId4" Type="http://schemas.openxmlformats.org/officeDocument/2006/relationships/image" Target="../media/image4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350" y="252413"/>
            <a:ext cx="6408738" cy="360427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86316" y="4703699"/>
            <a:ext cx="6224109" cy="50129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7646402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26000" indent="-126000" algn="l" defTabSz="914400" rtl="0" eaLnBrk="1" latinLnBrk="0" hangingPunct="1">
      <a:spcBef>
        <a:spcPts val="800"/>
      </a:spcBef>
      <a:buFontTx/>
      <a:buBlip>
        <a:blip r:embed="rId2"/>
      </a:buBlip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52000" indent="-126000" algn="l" defTabSz="914400" rtl="0" eaLnBrk="1" latinLnBrk="0" hangingPunct="1">
      <a:spcBef>
        <a:spcPts val="400"/>
      </a:spcBef>
      <a:buFontTx/>
      <a:buBlip>
        <a:blip r:embed="rId3"/>
      </a:buBlip>
      <a:defRPr lang="de-DE" sz="10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378000" indent="-108000" algn="l" defTabSz="914400" rtl="0" eaLnBrk="1" latinLnBrk="0" hangingPunct="1">
      <a:spcBef>
        <a:spcPts val="400"/>
      </a:spcBef>
      <a:buFontTx/>
      <a:buBlip>
        <a:blip r:embed="rId4"/>
      </a:buBlip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360363" indent="0" algn="l" defTabSz="914400" rtl="0" eaLnBrk="1" latinLnBrk="0" hangingPunct="1">
      <a:spcBef>
        <a:spcPts val="400"/>
      </a:spcBef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6pPr>
    <a:lvl7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7pPr>
    <a:lvl8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8pPr>
    <a:lvl9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75" y="282575"/>
            <a:ext cx="7170738" cy="40338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8309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Fazi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049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62286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6760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1200"/>
        </a:spcBef>
        <a:buSzPct val="100000"/>
        <a:buFontTx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26000" indent="-126000" algn="l" defTabSz="914400" rtl="0" eaLnBrk="1" latinLnBrk="0" hangingPunct="1">
        <a:spcBef>
          <a:spcPts val="800"/>
        </a:spcBef>
        <a:buSzPct val="100000"/>
        <a:buFontTx/>
        <a:buBlip>
          <a:blip r:embed="rId7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126000" algn="l" defTabSz="914400" rtl="0" eaLnBrk="1" latinLnBrk="0" hangingPunct="1">
        <a:spcBef>
          <a:spcPts val="400"/>
        </a:spcBef>
        <a:buSzPct val="100000"/>
        <a:buFontTx/>
        <a:buBlip>
          <a:blip r:embed="rId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78000" indent="-126000" algn="l" defTabSz="914400" rtl="0" eaLnBrk="1" latinLnBrk="0" hangingPunct="1">
        <a:spcBef>
          <a:spcPts val="400"/>
        </a:spcBef>
        <a:buSzPct val="100000"/>
        <a:buFontTx/>
        <a:buBlip>
          <a:blip r:embed="rId9"/>
        </a:buBlip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1000"/>
        </a:spcBef>
        <a:buFont typeface="Arial" panose="020B0604020202020204" pitchFamily="34" charset="0"/>
        <a:buNone/>
        <a:defRPr sz="11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1000"/>
        </a:spcBef>
        <a:buFont typeface="Arial" panose="020B0604020202020204" pitchFamily="34" charset="0"/>
        <a:buNone/>
        <a:defRPr sz="11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000"/>
        </a:spcBef>
        <a:buFont typeface="Arial" panose="020B0604020202020204" pitchFamily="34" charset="0"/>
        <a:buNone/>
        <a:defRPr sz="11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144" userDrawn="1">
          <p15:clr>
            <a:srgbClr val="A4A3A4"/>
          </p15:clr>
        </p15:guide>
        <p15:guide id="2" pos="1278" userDrawn="1">
          <p15:clr>
            <a:srgbClr val="A4A3A4"/>
          </p15:clr>
        </p15:guide>
        <p15:guide id="3" pos="1392" userDrawn="1">
          <p15:clr>
            <a:srgbClr val="A4A3A4"/>
          </p15:clr>
        </p15:guide>
        <p15:guide id="4" pos="2639" userDrawn="1">
          <p15:clr>
            <a:srgbClr val="A4A3A4"/>
          </p15:clr>
        </p15:guide>
        <p15:guide id="5" pos="2526" userDrawn="1">
          <p15:clr>
            <a:srgbClr val="A4A3A4"/>
          </p15:clr>
        </p15:guide>
        <p15:guide id="6" pos="3886" userDrawn="1">
          <p15:clr>
            <a:srgbClr val="A4A3A4"/>
          </p15:clr>
        </p15:guide>
        <p15:guide id="7" pos="3773" userDrawn="1">
          <p15:clr>
            <a:srgbClr val="A4A3A4"/>
          </p15:clr>
        </p15:guide>
        <p15:guide id="8" pos="5134" userDrawn="1">
          <p15:clr>
            <a:srgbClr val="A4A3A4"/>
          </p15:clr>
        </p15:guide>
        <p15:guide id="9" pos="5020" userDrawn="1">
          <p15:clr>
            <a:srgbClr val="A4A3A4"/>
          </p15:clr>
        </p15:guide>
        <p15:guide id="10" pos="6381" userDrawn="1">
          <p15:clr>
            <a:srgbClr val="A4A3A4"/>
          </p15:clr>
        </p15:guide>
        <p15:guide id="11" pos="6268" userDrawn="1">
          <p15:clr>
            <a:srgbClr val="A4A3A4"/>
          </p15:clr>
        </p15:guide>
        <p15:guide id="12" orient="horz" pos="1026" userDrawn="1">
          <p15:clr>
            <a:srgbClr val="A4A3A4"/>
          </p15:clr>
        </p15:guide>
        <p15:guide id="13" orient="horz" pos="4042" userDrawn="1">
          <p15:clr>
            <a:srgbClr val="A4A3A4"/>
          </p15:clr>
        </p15:guide>
        <p15:guide id="14" pos="751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Tabelle 85">
            <a:extLst>
              <a:ext uri="{FF2B5EF4-FFF2-40B4-BE49-F238E27FC236}">
                <a16:creationId xmlns="" xmlns:a16="http://schemas.microsoft.com/office/drawing/2014/main" id="{5175995B-ADF8-4672-B4D1-51AF453DCF1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158841"/>
              </p:ext>
            </p:extLst>
          </p:nvPr>
        </p:nvGraphicFramePr>
        <p:xfrm>
          <a:off x="988828" y="1152201"/>
          <a:ext cx="776177" cy="2016280"/>
        </p:xfrm>
        <a:graphic>
          <a:graphicData uri="http://schemas.openxmlformats.org/drawingml/2006/table">
            <a:tbl>
              <a:tblPr/>
              <a:tblGrid>
                <a:gridCol w="7761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Lt BT"/>
                          <a:ea typeface="ＭＳ Ｐゴシック"/>
                        </a:defRPr>
                      </a:lvl9pPr>
                    </a:lstStyle>
                    <a:p>
                      <a:r>
                        <a:rPr lang="tr-TR" sz="105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lang="en-GB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9pPr>
                    </a:lstStyle>
                    <a:p>
                      <a:r>
                        <a:rPr lang="tr-TR" sz="1100" noProof="0" dirty="0" smtClean="0">
                          <a:latin typeface="+mn-lt"/>
                        </a:rPr>
                        <a:t>yyy</a:t>
                      </a:r>
                      <a:endParaRPr lang="de-DE" sz="1100" noProof="0" dirty="0">
                        <a:latin typeface="+mn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noProof="0" dirty="0">
                        <a:latin typeface="+mn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kern="1200" noProof="0" dirty="0">
                        <a:solidFill>
                          <a:schemeClr val="dk1"/>
                        </a:solidFill>
                        <a:latin typeface="+mn-lt"/>
                        <a:ea typeface="ＭＳ Ｐゴシック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noProof="0" dirty="0">
                        <a:latin typeface="+mn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Lt BT"/>
                          <a:ea typeface="ＭＳ Ｐゴシック"/>
                        </a:defRPr>
                      </a:lvl9pPr>
                    </a:lstStyle>
                    <a:p>
                      <a:endParaRPr lang="de-DE" sz="1100" noProof="0" dirty="0">
                        <a:latin typeface="+mn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88040">
                <a:tc>
                  <a:txBody>
                    <a:bodyPr/>
                    <a:lstStyle/>
                    <a:p>
                      <a:endParaRPr lang="de-DE" sz="1100" noProof="0" dirty="0">
                        <a:latin typeface="+mn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3B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68783203"/>
                  </a:ext>
                </a:extLst>
              </a:tr>
            </a:tbl>
          </a:graphicData>
        </a:graphic>
      </p:graphicFrame>
      <p:sp>
        <p:nvSpPr>
          <p:cNvPr id="7" name="Ellipse 8">
            <a:extLst>
              <a:ext uri="{FF2B5EF4-FFF2-40B4-BE49-F238E27FC236}">
                <a16:creationId xmlns="" xmlns:a16="http://schemas.microsoft.com/office/drawing/2014/main" id="{0A5FB7CB-F0C7-4765-9951-235BC8E1E543}"/>
              </a:ext>
            </a:extLst>
          </p:cNvPr>
          <p:cNvSpPr/>
          <p:nvPr/>
        </p:nvSpPr>
        <p:spPr bwMode="gray">
          <a:xfrm>
            <a:off x="1259308" y="1511795"/>
            <a:ext cx="144000" cy="144000"/>
          </a:xfrm>
          <a:prstGeom prst="ellipse">
            <a:avLst/>
          </a:prstGeom>
          <a:solidFill>
            <a:srgbClr val="82C836"/>
          </a:solidFill>
          <a:ln w="31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8" name="Ellipse 8">
            <a:extLst>
              <a:ext uri="{FF2B5EF4-FFF2-40B4-BE49-F238E27FC236}">
                <a16:creationId xmlns="" xmlns:a16="http://schemas.microsoft.com/office/drawing/2014/main" id="{0A5FB7CB-F0C7-4765-9951-235BC8E1E543}"/>
              </a:ext>
            </a:extLst>
          </p:cNvPr>
          <p:cNvSpPr/>
          <p:nvPr/>
        </p:nvSpPr>
        <p:spPr bwMode="gray">
          <a:xfrm>
            <a:off x="1267493" y="1794235"/>
            <a:ext cx="144000" cy="144000"/>
          </a:xfrm>
          <a:prstGeom prst="ellipse">
            <a:avLst/>
          </a:prstGeom>
          <a:solidFill>
            <a:srgbClr val="82C836"/>
          </a:solidFill>
          <a:ln w="31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57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2017_Bechtle_Master_16_9_DE">
  <a:themeElements>
    <a:clrScheme name="Bechtle Farben NEU">
      <a:dk1>
        <a:srgbClr val="000000"/>
      </a:dk1>
      <a:lt1>
        <a:srgbClr val="FFFFFF"/>
      </a:lt1>
      <a:dk2>
        <a:srgbClr val="063A7E"/>
      </a:dk2>
      <a:lt2>
        <a:srgbClr val="DBDCDE"/>
      </a:lt2>
      <a:accent1>
        <a:srgbClr val="5D88A6"/>
      </a:accent1>
      <a:accent2>
        <a:srgbClr val="CDB9A9"/>
      </a:accent2>
      <a:accent3>
        <a:srgbClr val="7EC7DB"/>
      </a:accent3>
      <a:accent4>
        <a:srgbClr val="978F83"/>
      </a:accent4>
      <a:accent5>
        <a:srgbClr val="008A4F"/>
      </a:accent5>
      <a:accent6>
        <a:srgbClr val="51AA48"/>
      </a:accent6>
      <a:hlink>
        <a:srgbClr val="5A6E7B"/>
      </a:hlink>
      <a:folHlink>
        <a:srgbClr val="B33942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6350">
          <a:noFill/>
        </a:ln>
      </a:spPr>
      <a:bodyPr lIns="108000" tIns="108000" rIns="108000" bIns="108000" rtlCol="0" anchor="ctr"/>
      <a:lstStyle>
        <a:defPPr algn="ctr">
          <a:defRPr sz="160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Knallgelb">
      <a:srgbClr val="FFD809"/>
    </a:custClr>
    <a:custClr name="Orange">
      <a:srgbClr val="F07F0A"/>
    </a:custClr>
    <a:custClr name="Kaminrot">
      <a:srgbClr val="CD4F45"/>
    </a:custClr>
    <a:custClr name="Wintergrau">
      <a:srgbClr val="5A6E7B"/>
    </a:custClr>
    <a:custClr name="Saharabeige">
      <a:srgbClr val="F1C37A"/>
    </a:custClr>
  </a:custClrLst>
  <a:extLst>
    <a:ext uri="{05A4C25C-085E-4340-85A3-A5531E510DB2}">
      <thm15:themeFamily xmlns="" xmlns:thm15="http://schemas.microsoft.com/office/thememl/2012/main" name="2017_Bechtle_Master_16_9_DE_neu_SM.pptx" id="{894C92C2-2CC8-4277-BD13-55175B4F1E52}" vid="{88314DBB-712B-4AE6-8F63-1B9FA4EEB31A}"/>
    </a:ext>
  </a:extLst>
</a:theme>
</file>

<file path=ppt/theme/theme2.xml><?xml version="1.0" encoding="utf-8"?>
<a:theme xmlns:a="http://schemas.openxmlformats.org/drawingml/2006/main" name="Larissa">
  <a:themeElements>
    <a:clrScheme name="Bechtle Farben NEU">
      <a:dk1>
        <a:srgbClr val="000000"/>
      </a:dk1>
      <a:lt1>
        <a:srgbClr val="FFFFFF"/>
      </a:lt1>
      <a:dk2>
        <a:srgbClr val="063A7E"/>
      </a:dk2>
      <a:lt2>
        <a:srgbClr val="DBDCDE"/>
      </a:lt2>
      <a:accent1>
        <a:srgbClr val="5D88A6"/>
      </a:accent1>
      <a:accent2>
        <a:srgbClr val="CDB9A9"/>
      </a:accent2>
      <a:accent3>
        <a:srgbClr val="7EC7DB"/>
      </a:accent3>
      <a:accent4>
        <a:srgbClr val="978F83"/>
      </a:accent4>
      <a:accent5>
        <a:srgbClr val="008A4F"/>
      </a:accent5>
      <a:accent6>
        <a:srgbClr val="51AA48"/>
      </a:accent6>
      <a:hlink>
        <a:srgbClr val="5A6E7B"/>
      </a:hlink>
      <a:folHlink>
        <a:srgbClr val="B3394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80DBB97BDC1F46ABEE20EAFA9473F1" ma:contentTypeVersion="11" ma:contentTypeDescription="Ein neues Dokument erstellen." ma:contentTypeScope="" ma:versionID="d1e695263f51640946b10cfc9683d8e4">
  <xsd:schema xmlns:xsd="http://www.w3.org/2001/XMLSchema" xmlns:xs="http://www.w3.org/2001/XMLSchema" xmlns:p="http://schemas.microsoft.com/office/2006/metadata/properties" xmlns:ns3="eaaad16b-1d25-408c-88de-6109bfa33009" xmlns:ns4="f726b29a-2722-4f12-8da5-5c1da7c13b4f" targetNamespace="http://schemas.microsoft.com/office/2006/metadata/properties" ma:root="true" ma:fieldsID="ba8361626860831a8f16111b1d8ef1b9" ns3:_="" ns4:_="">
    <xsd:import namespace="eaaad16b-1d25-408c-88de-6109bfa33009"/>
    <xsd:import namespace="f726b29a-2722-4f12-8da5-5c1da7c13b4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ad16b-1d25-408c-88de-6109bfa3300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26b29a-2722-4f12-8da5-5c1da7c13b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E59C6A-9B4D-4F7E-AAAE-8F3F6F70E3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aad16b-1d25-408c-88de-6109bfa33009"/>
    <ds:schemaRef ds:uri="f726b29a-2722-4f12-8da5-5c1da7c13b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EB30615-4F5B-4F22-A4A1-37303777929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13F0A8C-5B5D-4A21-ACD9-F258BB7E487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_07_Bechtle_Master_16_9_DE</Template>
  <TotalTime>8</TotalTime>
  <Words>2</Words>
  <Application>Microsoft Office PowerPoint</Application>
  <PresentationFormat>Custom</PresentationFormat>
  <Paragraphs>2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2017_Bechtle_Master_16_9_DE</vt:lpstr>
      <vt:lpstr>think-cell Foli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S-Mobil Kick-Off</dc:title>
  <dc:creator>Nielson, Tom</dc:creator>
  <cp:lastModifiedBy>Windows Kullanıcısı</cp:lastModifiedBy>
  <cp:revision>20</cp:revision>
  <cp:lastPrinted>2017-02-02T10:16:10Z</cp:lastPrinted>
  <dcterms:created xsi:type="dcterms:W3CDTF">2020-07-08T07:31:45Z</dcterms:created>
  <dcterms:modified xsi:type="dcterms:W3CDTF">2020-11-02T08:1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80DBB97BDC1F46ABEE20EAFA9473F1</vt:lpwstr>
  </property>
  <property fmtid="{D5CDD505-2E9C-101B-9397-08002B2CF9AE}" pid="3" name="TaxKeyword">
    <vt:lpwstr/>
  </property>
  <property fmtid="{D5CDD505-2E9C-101B-9397-08002B2CF9AE}" pid="4" name="Dokument Sprache">
    <vt:lpwstr>3;#German|9fbe827f-a84b-43d2-bea6-b242b008052c</vt:lpwstr>
  </property>
  <property fmtid="{D5CDD505-2E9C-101B-9397-08002B2CF9AE}" pid="5" name="_docset_NoMedatataSyncRequired">
    <vt:lpwstr>False</vt:lpwstr>
  </property>
</Properties>
</file>